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7b8273dd61f5437a" Type="http://schemas.microsoft.com/office/2007/relationships/ui/extensibility" Target="customUI/customUI14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768" r:id="rId1"/>
  </p:sldMasterIdLst>
  <p:notesMasterIdLst>
    <p:notesMasterId r:id="rId6"/>
  </p:notesMasterIdLst>
  <p:handoutMasterIdLst>
    <p:handoutMasterId r:id="rId7"/>
  </p:handoutMasterIdLst>
  <p:sldIdLst>
    <p:sldId id="691" r:id="rId2"/>
    <p:sldId id="692" r:id="rId3"/>
    <p:sldId id="693" r:id="rId4"/>
    <p:sldId id="739" r:id="rId5"/>
  </p:sldIdLst>
  <p:sldSz cx="9602788" cy="6858000"/>
  <p:notesSz cx="6973888" cy="9236075"/>
  <p:custDataLst>
    <p:tags r:id="rId8"/>
  </p:custDataLst>
  <p:defaultTextStyle>
    <a:defPPr>
      <a:defRPr lang="en-GB"/>
    </a:defPPr>
    <a:lvl1pPr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36" userDrawn="1">
          <p15:clr>
            <a:srgbClr val="A4A3A4"/>
          </p15:clr>
        </p15:guide>
        <p15:guide id="2" orient="horz" pos="881" userDrawn="1">
          <p15:clr>
            <a:srgbClr val="A4A3A4"/>
          </p15:clr>
        </p15:guide>
        <p15:guide id="3" orient="horz" pos="3992" userDrawn="1">
          <p15:clr>
            <a:srgbClr val="A4A3A4"/>
          </p15:clr>
        </p15:guide>
        <p15:guide id="4" orient="horz" pos="4319">
          <p15:clr>
            <a:srgbClr val="A4A3A4"/>
          </p15:clr>
        </p15:guide>
        <p15:guide id="5" pos="288">
          <p15:clr>
            <a:srgbClr val="A4A3A4"/>
          </p15:clr>
        </p15:guide>
        <p15:guide id="6" pos="5765" userDrawn="1">
          <p15:clr>
            <a:srgbClr val="A4A3A4"/>
          </p15:clr>
        </p15:guide>
        <p15:guide id="7" orient="horz" pos="2024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CC"/>
    <a:srgbClr val="E8F6E6"/>
    <a:srgbClr val="BFBFBF"/>
    <a:srgbClr val="FFFFCC"/>
    <a:srgbClr val="008AB3"/>
    <a:srgbClr val="FFDDDD"/>
    <a:srgbClr val="FCE0E2"/>
    <a:srgbClr val="D7E4BD"/>
    <a:srgbClr val="FF0000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Oliver Wyman - defaul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4"/>
              </a:solidFill>
            </a:ln>
          </a:bottom>
          <a:insideH>
            <a:ln w="9525" cap="flat" cmpd="sng" algn="ctr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710" autoAdjust="0"/>
    <p:restoredTop sz="99858" autoAdjust="0"/>
  </p:normalViewPr>
  <p:slideViewPr>
    <p:cSldViewPr snapToGrid="0" showGuides="1">
      <p:cViewPr>
        <p:scale>
          <a:sx n="83" d="100"/>
          <a:sy n="83" d="100"/>
        </p:scale>
        <p:origin x="-1362" y="-72"/>
      </p:cViewPr>
      <p:guideLst>
        <p:guide orient="horz" pos="4083"/>
        <p:guide orient="horz" pos="1107"/>
        <p:guide orient="horz" pos="893"/>
        <p:guide pos="221"/>
        <p:guide pos="582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75" d="100"/>
          <a:sy n="75" d="100"/>
        </p:scale>
        <p:origin x="-2802" y="-72"/>
      </p:cViewPr>
      <p:guideLst>
        <p:guide orient="horz" pos="2909"/>
        <p:guide pos="219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t" anchorCtr="0" compatLnSpc="1">
            <a:prstTxWarp prst="textNoShape">
              <a:avLst/>
            </a:prstTxWarp>
          </a:bodyPr>
          <a:lstStyle>
            <a:lvl1pPr algn="l" defTabSz="939424">
              <a:lnSpc>
                <a:spcPct val="100000"/>
              </a:lnSpc>
              <a:defRPr sz="1200"/>
            </a:lvl1pPr>
          </a:lstStyle>
          <a:p>
            <a:endParaRPr lang="en-GB" dirty="0">
              <a:latin typeface="+mn-lt"/>
              <a:ea typeface="+mn-lt"/>
              <a:sym typeface="Arial"/>
            </a:endParaRP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50401" y="0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t" anchorCtr="0" compatLnSpc="1">
            <a:prstTxWarp prst="textNoShape">
              <a:avLst/>
            </a:prstTxWarp>
          </a:bodyPr>
          <a:lstStyle>
            <a:lvl1pPr algn="r" defTabSz="939424">
              <a:lnSpc>
                <a:spcPct val="100000"/>
              </a:lnSpc>
              <a:defRPr sz="1200"/>
            </a:lvl1pPr>
          </a:lstStyle>
          <a:p>
            <a:endParaRPr lang="en-GB" dirty="0">
              <a:latin typeface="+mn-lt"/>
              <a:ea typeface="+mn-lt"/>
              <a:sym typeface="Arial"/>
            </a:endParaRPr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8773012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b" anchorCtr="0" compatLnSpc="1">
            <a:prstTxWarp prst="textNoShape">
              <a:avLst/>
            </a:prstTxWarp>
          </a:bodyPr>
          <a:lstStyle>
            <a:lvl1pPr algn="l" defTabSz="939424">
              <a:lnSpc>
                <a:spcPct val="100000"/>
              </a:lnSpc>
              <a:defRPr sz="1200"/>
            </a:lvl1pPr>
          </a:lstStyle>
          <a:p>
            <a:endParaRPr lang="en-GB" dirty="0">
              <a:solidFill>
                <a:schemeClr val="accent3"/>
              </a:solidFill>
              <a:latin typeface="+mn-lt"/>
              <a:ea typeface="+mn-lt"/>
              <a:sym typeface="Arial"/>
            </a:endParaRPr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50401" y="8773012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b" anchorCtr="0" compatLnSpc="1">
            <a:prstTxWarp prst="textNoShape">
              <a:avLst/>
            </a:prstTxWarp>
          </a:bodyPr>
          <a:lstStyle>
            <a:lvl1pPr algn="r" defTabSz="939424">
              <a:lnSpc>
                <a:spcPct val="100000"/>
              </a:lnSpc>
              <a:defRPr sz="1200"/>
            </a:lvl1pPr>
          </a:lstStyle>
          <a:p>
            <a:fld id="{9BBE641A-A38A-4199-A515-2A762F6E34D5}" type="slidenum">
              <a:rPr lang="en-GB" smtClean="0">
                <a:solidFill>
                  <a:schemeClr val="accent3"/>
                </a:solidFill>
                <a:latin typeface="+mn-lt"/>
                <a:ea typeface="+mn-lt"/>
                <a:sym typeface="Arial"/>
              </a:rPr>
              <a:pPr/>
              <a:t>‹#›</a:t>
            </a:fld>
            <a:endParaRPr lang="en-GB" dirty="0">
              <a:solidFill>
                <a:schemeClr val="accent3"/>
              </a:solidFill>
              <a:latin typeface="+mn-lt"/>
              <a:ea typeface="+mn-lt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835035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t" anchorCtr="0" compatLnSpc="1">
            <a:prstTxWarp prst="textNoShape">
              <a:avLst/>
            </a:prstTxWarp>
          </a:bodyPr>
          <a:lstStyle>
            <a:lvl1pPr algn="l" defTabSz="939424">
              <a:lnSpc>
                <a:spcPct val="100000"/>
              </a:lnSpc>
              <a:defRPr sz="1200"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50401" y="0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t" anchorCtr="0" compatLnSpc="1">
            <a:prstTxWarp prst="textNoShape">
              <a:avLst/>
            </a:prstTxWarp>
          </a:bodyPr>
          <a:lstStyle>
            <a:lvl1pPr algn="r" defTabSz="939424">
              <a:lnSpc>
                <a:spcPct val="100000"/>
              </a:lnSpc>
              <a:defRPr sz="1200"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62038" y="692150"/>
            <a:ext cx="4851400" cy="34655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96761" y="4386507"/>
            <a:ext cx="5580371" cy="4156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28600" lvl="0" indent="-228600" eaLnBrk="1" hangingPunct="1">
              <a:spcBef>
                <a:spcPct val="60000"/>
              </a:spcBef>
              <a:spcAft>
                <a:spcPts val="600"/>
              </a:spcAft>
              <a:buChar char="•"/>
            </a:pPr>
            <a:r>
              <a:rPr lang="en-GB" dirty="0" smtClean="0"/>
              <a:t>Click to edit Master text styles</a:t>
            </a:r>
          </a:p>
          <a:p>
            <a:pPr lvl="1" indent="-228600" eaLnBrk="1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–"/>
            </a:pPr>
            <a:r>
              <a:rPr lang="en-GB" dirty="0" smtClean="0"/>
              <a:t>2nd level</a:t>
            </a:r>
          </a:p>
          <a:p>
            <a:pPr marL="685800" lvl="2" indent="-228600" eaLnBrk="1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3rd level</a:t>
            </a:r>
          </a:p>
          <a:p>
            <a:pPr marL="914400" lvl="3" indent="-228600" eaLnBrk="1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4th level</a:t>
            </a:r>
          </a:p>
          <a:p>
            <a:pPr marL="1143000" lvl="4" indent="-228600" eaLnBrk="1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</a:pPr>
            <a:r>
              <a:rPr lang="en-GB" dirty="0" smtClean="0"/>
              <a:t>5th level</a:t>
            </a:r>
          </a:p>
          <a:p>
            <a:pPr marL="1371600" lvl="5" indent="-228600" fontAlgn="base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6th level</a:t>
            </a:r>
          </a:p>
          <a:p>
            <a:pPr marL="1600200" lvl="6" indent="-228600" fontAlgn="base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7th level</a:t>
            </a:r>
          </a:p>
          <a:p>
            <a:pPr marL="1828800" lvl="7" indent="-228600" fontAlgn="base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8th level</a:t>
            </a:r>
          </a:p>
          <a:p>
            <a:pPr marL="2057400" lvl="8" indent="-228600" fontAlgn="base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9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8773012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b" anchorCtr="0" compatLnSpc="1">
            <a:prstTxWarp prst="textNoShape">
              <a:avLst/>
            </a:prstTxWarp>
          </a:bodyPr>
          <a:lstStyle>
            <a:lvl1pPr algn="l" defTabSz="939424">
              <a:lnSpc>
                <a:spcPct val="100000"/>
              </a:lnSpc>
              <a:defRPr sz="1200">
                <a:solidFill>
                  <a:schemeClr val="accent3"/>
                </a:solidFill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50401" y="8773012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b" anchorCtr="0" compatLnSpc="1">
            <a:prstTxWarp prst="textNoShape">
              <a:avLst/>
            </a:prstTxWarp>
          </a:bodyPr>
          <a:lstStyle>
            <a:lvl1pPr algn="r" defTabSz="939424">
              <a:lnSpc>
                <a:spcPct val="100000"/>
              </a:lnSpc>
              <a:defRPr sz="1200">
                <a:solidFill>
                  <a:schemeClr val="accent3"/>
                </a:solidFill>
                <a:latin typeface="+mn-lt"/>
                <a:ea typeface="+mn-ea"/>
                <a:sym typeface="+mn-lt"/>
              </a:defRPr>
            </a:lvl1pPr>
          </a:lstStyle>
          <a:p>
            <a:fld id="{26BEA98B-8E54-4CD0-82BB-B61F2ACC55F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126975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1pPr>
    <a:lvl2pPr marL="4572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2pPr>
    <a:lvl3pPr marL="9144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3pPr>
    <a:lvl4pPr marL="13716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4pPr>
    <a:lvl5pPr marL="18288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5pPr>
    <a:lvl6pPr marL="2286000" algn="l" defTabSz="914400" rtl="0" eaLnBrk="1" latinLnBrk="0" hangingPunct="1">
      <a:defRPr lang="en-GB" sz="1400" kern="1200" baseline="0" dirty="0" smtClean="0">
        <a:solidFill>
          <a:schemeClr val="tx1"/>
        </a:solidFill>
        <a:latin typeface="+mn-lt"/>
        <a:ea typeface="+mn-ea"/>
        <a:cs typeface="+mn-cs"/>
        <a:sym typeface="+mn-lt"/>
      </a:defRPr>
    </a:lvl6pPr>
    <a:lvl7pPr marL="2743200" algn="l" defTabSz="914400" rtl="0" eaLnBrk="1" latinLnBrk="0" hangingPunct="1"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7pPr>
    <a:lvl8pPr marL="3200400" algn="l" defTabSz="914400" rtl="0" eaLnBrk="1" latinLnBrk="0" hangingPunct="1"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8pPr>
    <a:lvl9pPr marL="3657600" algn="l" defTabSz="914400" rtl="0" eaLnBrk="1" latinLnBrk="0" hangingPunct="1">
      <a:defRPr lang="en-GB" sz="1400" kern="1200" baseline="0" dirty="0" smtClean="0">
        <a:solidFill>
          <a:schemeClr val="tx1"/>
        </a:solidFill>
        <a:latin typeface="+mn-lt"/>
        <a:ea typeface="+mn-ea"/>
        <a:cs typeface="+mn-cs"/>
        <a:sym typeface="+mn-lt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62038" y="692150"/>
            <a:ext cx="4851400" cy="34655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46498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 userDrawn="1"/>
        </p:nvSpPr>
        <p:spPr bwMode="auto">
          <a:xfrm>
            <a:off x="348435" y="2802939"/>
            <a:ext cx="1791588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" sz="2400" dirty="0">
              <a:ln w="9525" cmpd="sng">
                <a:solidFill>
                  <a:srgbClr val="000000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S PGothic" pitchFamily="34" charset="-128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48437" y="2897188"/>
            <a:ext cx="8549149" cy="349250"/>
          </a:xfrm>
          <a:prstGeom prst="rect">
            <a:avLst/>
          </a:prstGeom>
        </p:spPr>
        <p:txBody>
          <a:bodyPr lIns="0" rIns="163449"/>
          <a:lstStyle>
            <a:lvl1pPr marL="0" indent="0">
              <a:buNone/>
              <a:defRPr sz="2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dirty="0" smtClean="0">
                <a:solidFill>
                  <a:srgbClr val="FF0000"/>
                </a:solidFill>
                <a:latin typeface="Arial"/>
                <a:cs typeface="Arial"/>
              </a:rPr>
              <a:t>SHUSA COMMITTEE/BOARD (Arial 24pt Bold/Red)</a:t>
            </a:r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5938" y="3275665"/>
            <a:ext cx="8541647" cy="349250"/>
          </a:xfrm>
          <a:prstGeom prst="rect">
            <a:avLst/>
          </a:prstGeom>
        </p:spPr>
        <p:txBody>
          <a:bodyPr lIns="0" rIns="199453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 dirty="0" smtClean="0"/>
              <a:t>Title of Presentation </a:t>
            </a: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ust match Agenda, Arial 20pt Bold/Black)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355938" y="3706427"/>
            <a:ext cx="4547155" cy="430213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Date (Arial 18pt Black)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55935" y="4339840"/>
            <a:ext cx="8541648" cy="430213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esenter: Name and Title (Arial 18pt Gray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4795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5938" y="2897188"/>
            <a:ext cx="8541647" cy="349250"/>
          </a:xfrm>
          <a:prstGeom prst="rect">
            <a:avLst/>
          </a:prstGeom>
        </p:spPr>
        <p:txBody>
          <a:bodyPr lIns="0" rIns="163449"/>
          <a:lstStyle>
            <a:lvl1pPr>
              <a:defRPr lang="en-GB" sz="2400" b="1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marL="0" lvl="0" indent="0">
              <a:buNone/>
            </a:pPr>
            <a:r>
              <a:rPr lang="en-GB" dirty="0" smtClean="0"/>
              <a:t>Section #</a:t>
            </a:r>
            <a:endParaRPr lang="en-GB" dirty="0"/>
          </a:p>
        </p:txBody>
      </p:sp>
      <p:sp>
        <p:nvSpPr>
          <p:cNvPr id="4" name="Line 19"/>
          <p:cNvSpPr>
            <a:spLocks noChangeShapeType="1"/>
          </p:cNvSpPr>
          <p:nvPr userDrawn="1"/>
        </p:nvSpPr>
        <p:spPr bwMode="auto">
          <a:xfrm>
            <a:off x="348435" y="2802939"/>
            <a:ext cx="1791588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" sz="2400" dirty="0">
              <a:ln w="9525" cmpd="sng">
                <a:solidFill>
                  <a:srgbClr val="000000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41625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Body &amp;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3082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7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348435" y="1460500"/>
            <a:ext cx="8829230" cy="4992687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</p:spTree>
    <p:extLst>
      <p:ext uri="{BB962C8B-B14F-4D97-AF65-F5344CB8AC3E}">
        <p14:creationId xmlns:p14="http://schemas.microsoft.com/office/powerpoint/2010/main" val="1171577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0650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27330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7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348435" y="2163204"/>
            <a:ext cx="4091188" cy="3921683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348435" y="1470025"/>
            <a:ext cx="4091188" cy="487361"/>
          </a:xfrm>
          <a:prstGeom prst="rect">
            <a:avLst/>
          </a:prstGeom>
        </p:spPr>
        <p:txBody>
          <a:bodyPr lIns="19431" tIns="0" bIns="153733"/>
          <a:lstStyle>
            <a:lvl1pPr marL="0" indent="0">
              <a:buNone/>
              <a:defRPr sz="1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5168378" y="1470025"/>
            <a:ext cx="4091188" cy="487361"/>
          </a:xfrm>
          <a:prstGeom prst="rect">
            <a:avLst/>
          </a:prstGeom>
        </p:spPr>
        <p:txBody>
          <a:bodyPr lIns="19431" tIns="0" bIns="153733"/>
          <a:lstStyle>
            <a:lvl1pPr marL="0" indent="0">
              <a:buNone/>
              <a:defRPr sz="1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62550" y="2163204"/>
            <a:ext cx="4091188" cy="3921683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157768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&amp; 1/3 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785970" y="1457159"/>
            <a:ext cx="2391695" cy="4614865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348435" y="1457159"/>
            <a:ext cx="5837361" cy="4614865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</p:spTree>
    <p:extLst>
      <p:ext uri="{BB962C8B-B14F-4D97-AF65-F5344CB8AC3E}">
        <p14:creationId xmlns:p14="http://schemas.microsoft.com/office/powerpoint/2010/main" val="1360059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602788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9001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866752203"/>
              </p:ext>
            </p:extLst>
          </p:nvPr>
        </p:nvGraphicFramePr>
        <p:xfrm>
          <a:off x="1670" y="1592"/>
          <a:ext cx="166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831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670" y="1592"/>
                        <a:ext cx="166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7454130" y="6632624"/>
            <a:ext cx="199208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baseline="30000" dirty="0">
                <a:solidFill>
                  <a:schemeClr val="tx1"/>
                </a:solidFill>
              </a:rPr>
              <a:t>Proprietary &amp; Confidential</a:t>
            </a:r>
            <a:endParaRPr lang="en-US" sz="1500" b="1" dirty="0">
              <a:solidFill>
                <a:schemeClr val="tx1"/>
              </a:solidFill>
            </a:endParaRPr>
          </a:p>
        </p:txBody>
      </p:sp>
      <p:pic>
        <p:nvPicPr>
          <p:cNvPr id="8" name="Picture 2" descr="C:\Users\n610821\Desktop\sant-MReg_positivo_RGB.300.jp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6469" y="6166951"/>
            <a:ext cx="1707505" cy="497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235909" y="6321262"/>
            <a:ext cx="1747658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500" b="1" baseline="30000" dirty="0" smtClean="0">
                <a:solidFill>
                  <a:schemeClr val="tx1"/>
                </a:solidFill>
              </a:rPr>
              <a:t>Santander Holdings USA</a:t>
            </a:r>
            <a:r>
              <a:rPr lang="en-US" sz="1500" b="1" baseline="0" dirty="0" smtClean="0">
                <a:solidFill>
                  <a:schemeClr val="tx1"/>
                </a:solidFill>
              </a:rPr>
              <a:t> </a:t>
            </a:r>
            <a:endParaRPr lang="en-US" sz="15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1575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69" r:id="rId2"/>
    <p:sldLayoutId id="2147483771" r:id="rId3"/>
    <p:sldLayoutId id="2147483772" r:id="rId4"/>
    <p:sldLayoutId id="2147483774" r:id="rId5"/>
    <p:sldLayoutId id="2147483775" r:id="rId6"/>
    <p:sldLayoutId id="2147483782" r:id="rId7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5281333"/>
              </p:ext>
            </p:extLst>
          </p:nvPr>
        </p:nvGraphicFramePr>
        <p:xfrm>
          <a:off x="349317" y="994410"/>
          <a:ext cx="8912368" cy="3450336"/>
        </p:xfrm>
        <a:graphic>
          <a:graphicData uri="http://schemas.openxmlformats.org/drawingml/2006/table">
            <a:tbl>
              <a:tblPr firstRow="1" bandRow="1"/>
              <a:tblGrid>
                <a:gridCol w="914400"/>
                <a:gridCol w="1637458"/>
                <a:gridCol w="851478"/>
                <a:gridCol w="851478"/>
                <a:gridCol w="851478"/>
                <a:gridCol w="851478"/>
                <a:gridCol w="851478"/>
                <a:gridCol w="2103120"/>
              </a:tblGrid>
              <a:tr h="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tio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36576" marR="36576" marT="36576" marB="36576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9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ment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8912">
                <a:tc rowSpan="4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equacy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ratios)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on Equity</a:t>
                      </a:r>
                      <a:r>
                        <a:rPr lang="en-US" sz="1000" b="0" i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ier 1</a:t>
                      </a:r>
                      <a:endParaRPr lang="en-US" sz="1000" b="0" i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.74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.59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.14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.00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.25%</a:t>
                      </a: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8912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Risk-based Capital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.03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.58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.62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4.25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3.50%</a:t>
                      </a: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8912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er</a:t>
                      </a:r>
                      <a:r>
                        <a:rPr lang="en-US" sz="1000" b="0" i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 Leverage</a:t>
                      </a:r>
                      <a:endParaRPr lang="en-US" sz="1000" b="0" i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77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67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9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.4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.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8912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er 1 Risk-based</a:t>
                      </a:r>
                      <a:r>
                        <a:rPr lang="en-US" sz="1000" b="0" i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apital</a:t>
                      </a:r>
                      <a:endParaRPr lang="en-US" sz="1000" b="0" i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.3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.0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.56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2.5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1.7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8912">
                <a:tc rowSpan="3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equacy (other)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PNR Impairment (CCAR 9Q)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,639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,861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ssed measure only</a:t>
                      </a:r>
                    </a:p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8912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ss in Stress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1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ssed measure only</a:t>
                      </a:r>
                    </a:p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8912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 Tota</a:t>
                      </a:r>
                      <a:r>
                        <a:rPr lang="en-US" sz="10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 RWA</a:t>
                      </a:r>
                      <a:endParaRPr lang="en-US" sz="10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7.6B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8.6BN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9.6B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d - $2BN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% of CET1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Content Placeholder 2"/>
          <p:cNvSpPr>
            <a:spLocks noGrp="1"/>
          </p:cNvSpPr>
          <p:nvPr>
            <p:ph sz="quarter" idx="11"/>
          </p:nvPr>
        </p:nvSpPr>
        <p:spPr>
          <a:xfrm>
            <a:off x="348437" y="452510"/>
            <a:ext cx="8666245" cy="435610"/>
          </a:xfrm>
        </p:spPr>
        <p:txBody>
          <a:bodyPr/>
          <a:lstStyle/>
          <a:p>
            <a:r>
              <a:rPr lang="en-US" dirty="0"/>
              <a:t>2016 </a:t>
            </a:r>
            <a:r>
              <a:rPr lang="en-US" dirty="0" smtClean="0"/>
              <a:t>RAS - Strategic Plan Forecas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2613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4085604"/>
              </p:ext>
            </p:extLst>
          </p:nvPr>
        </p:nvGraphicFramePr>
        <p:xfrm>
          <a:off x="348436" y="978535"/>
          <a:ext cx="9254351" cy="5087112"/>
        </p:xfrm>
        <a:graphic>
          <a:graphicData uri="http://schemas.openxmlformats.org/drawingml/2006/table">
            <a:tbl>
              <a:tblPr firstRow="1" bandRow="1"/>
              <a:tblGrid>
                <a:gridCol w="946491"/>
                <a:gridCol w="1788842"/>
                <a:gridCol w="650772"/>
                <a:gridCol w="662544"/>
                <a:gridCol w="662544"/>
                <a:gridCol w="662544"/>
                <a:gridCol w="851842"/>
                <a:gridCol w="851842"/>
                <a:gridCol w="2176930"/>
              </a:tblGrid>
              <a:tr h="13542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ity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36576" marR="36576" marT="36576" marB="36576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9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ment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rowSpan="7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 risk (losses)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 Credit Losses </a:t>
                      </a:r>
                      <a:r>
                        <a:rPr lang="en-US" sz="1000" b="0" i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CCAR 9Q)</a:t>
                      </a:r>
                      <a:endParaRPr lang="en-US" sz="1000" b="0" i="1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12,686M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13,186M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ssed measure only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t Charge-off Rate</a:t>
                      </a:r>
                      <a:endParaRPr lang="en-US" sz="1000" b="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6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nly available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o the portfolio level, see SBNA RAS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 Auto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3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5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7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9.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9.6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PR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9%</a:t>
                      </a:r>
                      <a:endParaRPr lang="en-US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8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8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.7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.9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ecast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eflects the continued </a:t>
                      </a: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conomic deterioration in Puerto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ico</a:t>
                      </a: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/61+</a:t>
                      </a:r>
                      <a:r>
                        <a:rPr lang="en-US" sz="1000" b="0" i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PD Rate</a:t>
                      </a:r>
                      <a:endParaRPr lang="en-US" sz="1000" b="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 Retail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.84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3.1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 Auto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5.1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5.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PR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2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1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1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6.6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7.1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rowSpan="1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 risk (concentration)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ingle Obligor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Exposure 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/A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gt;$500M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 20 Corporates Exposure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7.0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8.0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ligor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ating Exposure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0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ustry Exposure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4.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0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ancial &amp;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surance Exposure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6.2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tilities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0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E Exposure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9.0B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9.1B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9.2B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0.1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0.6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ultifamily Exposure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1.3B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1.5B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1.8B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0.6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1.1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ject Finance Exposure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.22B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.40B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.31B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3.7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4.2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ublic Sector Exposure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PR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283M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266M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249M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436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43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4463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 Subprime Assets </a:t>
                      </a: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 % </a:t>
                      </a:r>
                      <a:r>
                        <a:rPr lang="en-US" sz="10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 Credit</a:t>
                      </a:r>
                      <a:r>
                        <a:rPr lang="en-US" sz="10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xposure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Subprime Assets</a:t>
                      </a:r>
                      <a:r>
                        <a:rPr lang="en-US" sz="1000" b="0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 Credit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xposure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7" name="Content Placeholder 2"/>
          <p:cNvSpPr>
            <a:spLocks noGrp="1"/>
          </p:cNvSpPr>
          <p:nvPr>
            <p:ph sz="quarter" idx="11"/>
          </p:nvPr>
        </p:nvSpPr>
        <p:spPr>
          <a:xfrm>
            <a:off x="348437" y="452510"/>
            <a:ext cx="8666245" cy="435610"/>
          </a:xfrm>
        </p:spPr>
        <p:txBody>
          <a:bodyPr/>
          <a:lstStyle/>
          <a:p>
            <a:r>
              <a:rPr lang="en-US" dirty="0"/>
              <a:t>2016 </a:t>
            </a:r>
            <a:r>
              <a:rPr lang="en-US" dirty="0" smtClean="0"/>
              <a:t>RAS - Strategic Plan Forecas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3442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24982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8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Table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9518416"/>
              </p:ext>
            </p:extLst>
          </p:nvPr>
        </p:nvGraphicFramePr>
        <p:xfrm>
          <a:off x="348436" y="989965"/>
          <a:ext cx="9147422" cy="3297936"/>
        </p:xfrm>
        <a:graphic>
          <a:graphicData uri="http://schemas.openxmlformats.org/drawingml/2006/table">
            <a:tbl>
              <a:tblPr firstRow="1" bandRow="1"/>
              <a:tblGrid>
                <a:gridCol w="914400"/>
                <a:gridCol w="1649342"/>
                <a:gridCol w="914400"/>
                <a:gridCol w="640080"/>
                <a:gridCol w="640080"/>
                <a:gridCol w="640080"/>
                <a:gridCol w="822960"/>
                <a:gridCol w="822960"/>
                <a:gridCol w="2103120"/>
              </a:tblGrid>
              <a:tr h="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ity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36576" marR="36576" marT="36576" marB="36576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9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ment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idual value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isk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t Residual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Risk / CRLIT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-3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-5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rowSpan="6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/funding risk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ssed </a:t>
                      </a:r>
                      <a:r>
                        <a:rPr lang="en-US" sz="10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rvival </a:t>
                      </a: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iod </a:t>
                      </a:r>
                      <a:r>
                        <a:rPr lang="en-US" sz="10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days)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90 days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90 days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90 days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75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45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trics are expected to remain green 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 </a:t>
                      </a:r>
                      <a:r>
                        <a:rPr lang="en-US" sz="10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verage </a:t>
                      </a: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tio – EUR</a:t>
                      </a:r>
                      <a:endParaRPr lang="en-US" sz="1000" b="0" i="1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11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11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11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1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trics are expected to remain green 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 Coverage Ratio Modified</a:t>
                      </a:r>
                      <a:r>
                        <a:rPr lang="en-US" sz="1000" b="0" i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US</a:t>
                      </a:r>
                      <a:endParaRPr lang="en-US" sz="1000" b="0" i="1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17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17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17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1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trics are expected to remain green 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uctural Funding </a:t>
                      </a:r>
                      <a:r>
                        <a:rPr lang="en-US" sz="10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</a:t>
                      </a: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io </a:t>
                      </a:r>
                      <a:r>
                        <a:rPr lang="en-US" sz="10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%)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 Horizon - 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lesale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cenario 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 </a:t>
                      </a:r>
                    </a:p>
                    <a:p>
                      <a:pPr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arent</a:t>
                      </a:r>
                      <a:r>
                        <a:rPr lang="en-US" sz="10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nly)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24 months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24 months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24 months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2 months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6 months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trics are expected to remain green 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set Encumbrance (%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5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6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rowSpan="2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est rate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isk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II</a:t>
                      </a:r>
                      <a:r>
                        <a:rPr lang="en-US" sz="1000" b="0" i="1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#</a:t>
                      </a:r>
                      <a:r>
                        <a:rPr lang="en-US" sz="1000" b="0" i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Sensitivity</a:t>
                      </a:r>
                      <a:r>
                        <a:rPr lang="en-US" sz="10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+/- 100bps)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-4.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-5.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VE</a:t>
                      </a:r>
                      <a:r>
                        <a:rPr lang="en-US" sz="1000" b="0" i="1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#</a:t>
                      </a:r>
                      <a:r>
                        <a:rPr lang="en-US" sz="10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Sensitivity(+/- 100bps)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-6.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-7.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TM risk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rk</a:t>
                      </a:r>
                      <a:r>
                        <a:rPr lang="en-US" sz="1000" b="0" i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to-Market Value at Risk (VaR)</a:t>
                      </a:r>
                      <a:endParaRPr lang="en-US" sz="1000" b="0" i="1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7.0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9.0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" name="Content Placeholder 2"/>
          <p:cNvSpPr>
            <a:spLocks noGrp="1"/>
          </p:cNvSpPr>
          <p:nvPr>
            <p:ph sz="quarter" idx="11"/>
          </p:nvPr>
        </p:nvSpPr>
        <p:spPr>
          <a:xfrm>
            <a:off x="348437" y="452510"/>
            <a:ext cx="8666245" cy="435610"/>
          </a:xfrm>
        </p:spPr>
        <p:txBody>
          <a:bodyPr/>
          <a:lstStyle/>
          <a:p>
            <a:r>
              <a:rPr lang="en-US" dirty="0"/>
              <a:t>2016 </a:t>
            </a:r>
            <a:r>
              <a:rPr lang="en-US" dirty="0" smtClean="0"/>
              <a:t>RAS - Strategic Plan Forecas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0011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75519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Table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8352696"/>
              </p:ext>
            </p:extLst>
          </p:nvPr>
        </p:nvGraphicFramePr>
        <p:xfrm>
          <a:off x="348437" y="1001395"/>
          <a:ext cx="8969577" cy="2113280"/>
        </p:xfrm>
        <a:graphic>
          <a:graphicData uri="http://schemas.openxmlformats.org/drawingml/2006/table">
            <a:tbl>
              <a:tblPr firstRow="1" bandRow="1"/>
              <a:tblGrid>
                <a:gridCol w="982182"/>
                <a:gridCol w="2521422"/>
                <a:gridCol w="1097280"/>
                <a:gridCol w="1097280"/>
                <a:gridCol w="3271413"/>
              </a:tblGrid>
              <a:tr h="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ualitative</a:t>
                      </a:r>
                      <a:r>
                        <a:rPr lang="en-US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ment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rowSpan="2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onal risk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ss Operational</a:t>
                      </a:r>
                      <a:r>
                        <a:rPr lang="en-US" sz="1000" b="0" i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isk L</a:t>
                      </a: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ses </a:t>
                      </a:r>
                      <a:r>
                        <a:rPr lang="en-US" sz="10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 </a:t>
                      </a: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ss Margin</a:t>
                      </a:r>
                      <a:endParaRPr lang="en-US" sz="1000" b="0" i="1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.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  <a:p>
                      <a:pPr algn="l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terial</a:t>
                      </a:r>
                      <a:r>
                        <a:rPr lang="en-US" sz="1000" b="0" i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perational Risk E</a:t>
                      </a: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ts</a:t>
                      </a:r>
                      <a:endParaRPr lang="en-US" sz="1000" b="0" i="1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9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1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l risk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gacy Tier 1 Models in Production w/o Appropriate Approval</a:t>
                      </a:r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/A</a:t>
                      </a:r>
                      <a:endParaRPr lang="en-US" sz="10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Q2016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148</a:t>
                      </a:r>
                    </a:p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Q2016 – 116</a:t>
                      </a:r>
                    </a:p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Q2016 – 103</a:t>
                      </a:r>
                    </a:p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Q2016 – 46</a:t>
                      </a:r>
                    </a:p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Q2017 – 0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  <a:p>
                      <a:pPr marL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endParaRPr lang="en-US" sz="1000" b="0" i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iance risk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Open MRIAs and other equivalent matters requiring immediate attention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0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" name="Content Placeholder 2"/>
          <p:cNvSpPr>
            <a:spLocks noGrp="1"/>
          </p:cNvSpPr>
          <p:nvPr>
            <p:ph sz="quarter" idx="11"/>
          </p:nvPr>
        </p:nvSpPr>
        <p:spPr>
          <a:xfrm>
            <a:off x="348437" y="452510"/>
            <a:ext cx="8666245" cy="435610"/>
          </a:xfrm>
        </p:spPr>
        <p:txBody>
          <a:bodyPr/>
          <a:lstStyle/>
          <a:p>
            <a:r>
              <a:rPr lang="en-US" dirty="0"/>
              <a:t>2016 </a:t>
            </a:r>
            <a:r>
              <a:rPr lang="en-US" dirty="0" smtClean="0"/>
              <a:t>RAS - Strategic Plan Forecas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8756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2f19bde990ad741f46f5ea7ce4e19f2444f18fb"/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4&quot;&gt;&lt;elem m_fUsage=&quot;4.86540966304618920000E+000&quot;&gt;&lt;m_msothmcolidx val=&quot;0&quot;/&gt;&lt;m_rgb r=&quot;eb&quot; g=&quot;3&quot; b=&quot;26&quot;/&gt;&lt;m_ppcolschidx tagver0=&quot;23004&quot; tagname0=&quot;m_ppcolschidxUNRECOGNIZED&quot; val=&quot;0&quot;/&gt;&lt;m_nBrightness val=&quot;0&quot;/&gt;&lt;/elem&gt;&lt;elem m_fUsage=&quot;3.88172892307468010000E+000&quot;&gt;&lt;m_msothmcolidx val=&quot;0&quot;/&gt;&lt;m_rgb r=&quot;ff&quot; g=&quot;bf&quot; b=&quot;27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ff&quot; g=&quot;0&quot; b=&quot;0&quot;/&gt;&lt;m_ppcolschidx tagver0=&quot;23004&quot; tagname0=&quot;m_ppcolschidxUNRECOGNIZED&quot; val=&quot;0&quot;/&gt;&lt;m_nBrightness val=&quot;0&quot;/&gt;&lt;/elem&gt;&lt;elem m_fUsage=&quot;8.86293811965250810000E-002&quot;&gt;&lt;m_msothmcolidx val=&quot;0&quot;/&gt;&lt;m_rgb r=&quot;ff&quot; g=&quot;fa&quot; b=&quot;26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ISPRING_RESOURCE_PATHS_HASH_PRESENTER" val="f01d211bc0a0c2ddcfd62f283e8fc92d14a39d5d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ody Slide">
  <a:themeElements>
    <a:clrScheme name="Colour Theme propossal">
      <a:dk1>
        <a:srgbClr val="000000"/>
      </a:dk1>
      <a:lt1>
        <a:sysClr val="window" lastClr="FFFFFF"/>
      </a:lt1>
      <a:dk2>
        <a:srgbClr val="000000"/>
      </a:dk2>
      <a:lt2>
        <a:srgbClr val="7F7F7F"/>
      </a:lt2>
      <a:accent1>
        <a:srgbClr val="FF0000"/>
      </a:accent1>
      <a:accent2>
        <a:srgbClr val="A5A5A5"/>
      </a:accent2>
      <a:accent3>
        <a:srgbClr val="FFFFFF"/>
      </a:accent3>
      <a:accent4>
        <a:srgbClr val="3F3F3F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>
          <a:solidFill>
            <a:schemeClr val="tx1"/>
          </a:solidFill>
        </a:ln>
        <a:effectLst/>
      </a:spPr>
      <a:bodyPr rtlCol="0" anchor="ctr"/>
      <a:lstStyle>
        <a:defPPr algn="ctr">
          <a:defRPr sz="120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UI/customUI14.xml><?xml version="1.0" encoding="utf-8"?>
<mso:customUI xmlns:mso="http://schemas.microsoft.com/office/2009/07/customui">
  <mso:ribbon>
    <mso:contextualTabs>
      <mso:tabSet idMso="TabSetTableTools">
        <mso:tab idQ="mso:TabTableToolsDesign">
          <mso:group idQ="mso:GroupTableStylesPowerPoint" visible="false"/>
          <mso:group id="OWTable" label="Table" autoScale="true">
            <mso:gallery idQ="mso:ShadingColorPicker" showInRibbon="false" visible="true"/>
            <mso:control idQ="mso:TableBordersMenu" visible="true"/>
          </mso:group>
        </mso:tab>
      </mso:tabSet>
    </mso:contextualTabs>
  </mso:ribbon>
</mso:customUI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8944</TotalTime>
  <Words>757</Words>
  <Application>Microsoft Office PowerPoint</Application>
  <PresentationFormat>Custom</PresentationFormat>
  <Paragraphs>273</Paragraphs>
  <Slides>4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6" baseType="lpstr">
      <vt:lpstr>1_Body Slide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Company>Oliver Wyman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ng, Wanxin</dc:creator>
  <cp:keywords>Template version: 2015/07/23;Update Pack: 2015/09/15</cp:keywords>
  <cp:lastModifiedBy>Zhang, Zhiyi</cp:lastModifiedBy>
  <cp:revision>1308</cp:revision>
  <cp:lastPrinted>2016-04-01T20:38:17Z</cp:lastPrinted>
  <dcterms:created xsi:type="dcterms:W3CDTF">2016-03-28T17:49:32Z</dcterms:created>
  <dcterms:modified xsi:type="dcterms:W3CDTF">2016-10-03T17:19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Version">
    <vt:lpwstr>2015/07/23</vt:lpwstr>
  </property>
  <property fmtid="{D5CDD505-2E9C-101B-9397-08002B2CF9AE}" pid="3" name="DocumentMSOLanguageID">
    <vt:lpwstr>msoLanguageIDEnglishUK</vt:lpwstr>
  </property>
  <property fmtid="{D5CDD505-2E9C-101B-9397-08002B2CF9AE}" pid="4" name="LogoName">
    <vt:lpwstr>Oliver Wyman</vt:lpwstr>
  </property>
</Properties>
</file>